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3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5"/>
  </p:notesMasterIdLst>
  <p:sldIdLst>
    <p:sldId id="2147378078" r:id="rId5"/>
    <p:sldId id="2147475149" r:id="rId6"/>
    <p:sldId id="2147473412" r:id="rId7"/>
    <p:sldId id="13801" r:id="rId8"/>
    <p:sldId id="2147473384" r:id="rId9"/>
    <p:sldId id="2147475168" r:id="rId10"/>
    <p:sldId id="2147475151" r:id="rId11"/>
    <p:sldId id="2147475152" r:id="rId12"/>
    <p:sldId id="2147475148" r:id="rId13"/>
    <p:sldId id="2147475150" r:id="rId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15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B6E81D5E-7428-4206-B7E6-6B818DF1C011}"/>
    <pc:docChg chg="custSel modSld delMainMaster modMainMaster">
      <pc:chgData name="Neriman EL HADIDI" userId="4b24840c-84b3-44ac-9131-ca3568cb403b" providerId="ADAL" clId="{B6E81D5E-7428-4206-B7E6-6B818DF1C011}" dt="2024-11-01T08:47:36.460" v="10"/>
      <pc:docMkLst>
        <pc:docMk/>
      </pc:docMkLst>
      <pc:sldChg chg="delSp mod">
        <pc:chgData name="Neriman EL HADIDI" userId="4b24840c-84b3-44ac-9131-ca3568cb403b" providerId="ADAL" clId="{B6E81D5E-7428-4206-B7E6-6B818DF1C011}" dt="2024-11-01T08:44:36.398" v="0" actId="478"/>
        <pc:sldMkLst>
          <pc:docMk/>
          <pc:sldMk cId="0" sldId="2147473412"/>
        </pc:sldMkLst>
        <pc:spChg chg="del">
          <ac:chgData name="Neriman EL HADIDI" userId="4b24840c-84b3-44ac-9131-ca3568cb403b" providerId="ADAL" clId="{B6E81D5E-7428-4206-B7E6-6B818DF1C011}" dt="2024-11-01T08:44:36.398" v="0" actId="478"/>
          <ac:spMkLst>
            <pc:docMk/>
            <pc:sldMk cId="0" sldId="2147473412"/>
            <ac:spMk id="3" creationId="{628F787F-C378-5EE4-B305-0AE361710C10}"/>
          </ac:spMkLst>
        </pc:spChg>
        <pc:spChg chg="del">
          <ac:chgData name="Neriman EL HADIDI" userId="4b24840c-84b3-44ac-9131-ca3568cb403b" providerId="ADAL" clId="{B6E81D5E-7428-4206-B7E6-6B818DF1C011}" dt="2024-11-01T08:44:36.398" v="0" actId="478"/>
          <ac:spMkLst>
            <pc:docMk/>
            <pc:sldMk cId="0" sldId="2147473412"/>
            <ac:spMk id="8" creationId="{B0B95055-509A-F445-86D3-A92D25C20D8B}"/>
          </ac:spMkLst>
        </pc:spChg>
      </pc:sldChg>
      <pc:sldChg chg="modSp">
        <pc:chgData name="Neriman EL HADIDI" userId="4b24840c-84b3-44ac-9131-ca3568cb403b" providerId="ADAL" clId="{B6E81D5E-7428-4206-B7E6-6B818DF1C011}" dt="2024-11-01T08:47:36.460" v="10"/>
        <pc:sldMkLst>
          <pc:docMk/>
          <pc:sldMk cId="1059335515" sldId="2147475149"/>
        </pc:sldMkLst>
        <pc:graphicFrameChg chg="mod">
          <ac:chgData name="Neriman EL HADIDI" userId="4b24840c-84b3-44ac-9131-ca3568cb403b" providerId="ADAL" clId="{B6E81D5E-7428-4206-B7E6-6B818DF1C011}" dt="2024-11-01T08:47:36.460" v="10"/>
          <ac:graphicFrameMkLst>
            <pc:docMk/>
            <pc:sldMk cId="1059335515" sldId="2147475149"/>
            <ac:graphicFrameMk id="30" creationId="{BEA8EE7C-F76C-4D6E-8B71-2C2B6C6C031D}"/>
          </ac:graphicFrameMkLst>
        </pc:graphicFrameChg>
        <pc:graphicFrameChg chg="mod">
          <ac:chgData name="Neriman EL HADIDI" userId="4b24840c-84b3-44ac-9131-ca3568cb403b" providerId="ADAL" clId="{B6E81D5E-7428-4206-B7E6-6B818DF1C011}" dt="2024-11-01T08:47:29.505" v="9"/>
          <ac:graphicFrameMkLst>
            <pc:docMk/>
            <pc:sldMk cId="1059335515" sldId="2147475149"/>
            <ac:graphicFrameMk id="31" creationId="{D60E6CB1-B8E9-4BFA-A4C2-BE3B93DBDF82}"/>
          </ac:graphicFrameMkLst>
        </pc:graphicFrameChg>
        <pc:graphicFrameChg chg="mod">
          <ac:chgData name="Neriman EL HADIDI" userId="4b24840c-84b3-44ac-9131-ca3568cb403b" providerId="ADAL" clId="{B6E81D5E-7428-4206-B7E6-6B818DF1C011}" dt="2024-11-01T08:47:09.717" v="8"/>
          <ac:graphicFrameMkLst>
            <pc:docMk/>
            <pc:sldMk cId="1059335515" sldId="2147475149"/>
            <ac:graphicFrameMk id="32" creationId="{7F09B27F-4E26-4EFB-8578-68A3DB9629CA}"/>
          </ac:graphicFrameMkLst>
        </pc:graphicFrameChg>
      </pc:sldChg>
      <pc:sldMasterChg chg="del">
        <pc:chgData name="Neriman EL HADIDI" userId="4b24840c-84b3-44ac-9131-ca3568cb403b" providerId="ADAL" clId="{B6E81D5E-7428-4206-B7E6-6B818DF1C011}" dt="2024-11-01T08:45:39.187" v="1" actId="2696"/>
        <pc:sldMasterMkLst>
          <pc:docMk/>
          <pc:sldMasterMk cId="823099819" sldId="2147483792"/>
        </pc:sldMasterMkLst>
      </pc:sldMasterChg>
      <pc:sldMasterChg chg="del">
        <pc:chgData name="Neriman EL HADIDI" userId="4b24840c-84b3-44ac-9131-ca3568cb403b" providerId="ADAL" clId="{B6E81D5E-7428-4206-B7E6-6B818DF1C011}" dt="2024-11-01T08:46:04.026" v="2" actId="2696"/>
        <pc:sldMasterMkLst>
          <pc:docMk/>
          <pc:sldMasterMk cId="4279359491" sldId="2147483842"/>
        </pc:sldMasterMkLst>
      </pc:sldMasterChg>
      <pc:sldMasterChg chg="modSldLayout">
        <pc:chgData name="Neriman EL HADIDI" userId="4b24840c-84b3-44ac-9131-ca3568cb403b" providerId="ADAL" clId="{B6E81D5E-7428-4206-B7E6-6B818DF1C011}" dt="2024-11-01T08:46:19.132" v="3" actId="14100"/>
        <pc:sldMasterMkLst>
          <pc:docMk/>
          <pc:sldMasterMk cId="4001983691" sldId="2147483946"/>
        </pc:sldMasterMkLst>
        <pc:sldLayoutChg chg="modSp mod">
          <pc:chgData name="Neriman EL HADIDI" userId="4b24840c-84b3-44ac-9131-ca3568cb403b" providerId="ADAL" clId="{B6E81D5E-7428-4206-B7E6-6B818DF1C011}" dt="2024-11-01T08:46:19.132" v="3" actId="14100"/>
          <pc:sldLayoutMkLst>
            <pc:docMk/>
            <pc:sldMasterMk cId="4001983691" sldId="2147483946"/>
            <pc:sldLayoutMk cId="4023644576" sldId="2147484007"/>
          </pc:sldLayoutMkLst>
          <pc:spChg chg="mod">
            <ac:chgData name="Neriman EL HADIDI" userId="4b24840c-84b3-44ac-9131-ca3568cb403b" providerId="ADAL" clId="{B6E81D5E-7428-4206-B7E6-6B818DF1C011}" dt="2024-11-01T08:46:19.132" v="3" actId="14100"/>
            <ac:spMkLst>
              <pc:docMk/>
              <pc:sldMasterMk cId="4001983691" sldId="2147483946"/>
              <pc:sldLayoutMk cId="4023644576" sldId="2147484007"/>
              <ac:spMk id="2" creationId="{E5808D65-B4B3-3AF9-D068-D172F8F8A3C9}"/>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E1F8A19-6A5B-4610-BCD7-8EA76E010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ED7C75D-4F13-41F5-AA9A-F53FEDF09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D23C02F-45D2-42E4-BC5D-E7EFE3883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9D0D11C-25F5-4789-97F0-1CD835D3F7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A828CB8-B988-464C-AD51-8EB294A40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AA7F358-5262-443B-AB6C-FE2621A86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55DE264-062C-4A2D-AAEB-98738B67F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C3A90F1-12DF-4F6F-B998-F171BED8F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FFAD311-8C89-4F77-8C9C-6895B6E9C6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3A75488-3CAA-4FFC-9498-E10B08E48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5965B61-6F56-4ED7-9084-C018A8783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58B7E83-4AF7-4D80-B85E-4AE4F9752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36A2AFD0-8A6D-4674-AC44-828289BD3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6D815CE-E93B-4DE8-A205-DD4CCABA3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249839E-0898-491F-A83D-3B352EAC3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2C247C1B-AB15-4C0F-BD65-F2982EA3F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C90E48D-3D43-4A6E-8202-2A4724AAE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0DD3CA59-0C16-477D-A99F-7928299F1B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E7C3B4BD-810C-4A73-A5C1-87F6F3798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990D622-0CA2-4E34-B2F4-8A429367F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DAA09BCA-1F0F-4327-A592-327ECA12B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67F2FB8-E357-4422-B038-967B60BED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8BC0381C-8D6E-4DE1-8415-FDBBAE0A6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089436DF-0243-4F47-8261-F8C873AC7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5FF47CA0-E6C7-4B1E-99D8-8F6C65D7D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1CFF9210-B76B-46FD-BF7F-68E0AD95E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4CA97BA6-A650-431B-937C-7FC3566EA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AC8C86AA-BB82-4AF5-AD3D-F2FA1CD35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80F5E6AE-C46E-4062-9FF7-69EF8CB71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FEC5485-A947-4618-ACF4-6703391AFF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11A44EA1-A4E0-4F33-88B3-6E7D2EB54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A6E89BBA-5537-4D7A-8093-C8D11C699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D9EA0C8-A36E-4004-863C-39D69522B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084EA412-302C-44D0-A0B2-463490F22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085BC5E5-10D2-4437-96F2-06C7C73C3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B4F71BD-A0C8-499D-8AC2-233498D683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BA646478-DD0A-45CC-BF6B-314B884BD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2DEB2735-36A5-4A77-9CF1-CA59C1158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EB85AAAA-CEFB-4346-9E67-CB94073E7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02C8BF7D-F88A-4DF1-8CB6-5773FF551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7B3D763A-5C40-421E-8BB4-4FA5B28E0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126CC00C-AE31-40D9-A2C0-8B098C566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ABF4A8E3-A12A-4C69-AA16-7C9E870E4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6F638B69-2259-4566-B10D-4C039EC2D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C8158128-B03A-4532-A77A-B816D581E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68CFBD81-CB70-466A-90B2-590113B8D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9A523FF1-64E9-4D10-85E7-D96F7E596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071DCF5E-0E2F-44A2-B349-57DA550EF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339FE647-267F-4C23-93E4-F5E80E5F3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6E5C2500-9E3D-457E-AC0B-D28305A2CE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6609163D-AE8C-48E8-BAA1-C20D5B97B3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8E9AE41A-1802-4009-BE4F-768CFA6CC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97C7CB74-DA12-47C9-A478-6D01B632C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8688F543-866B-4423-BE39-A7F1C78F07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98019DF-FC79-4AAF-ADD0-E142FF895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39F7C78-9921-4068-8911-B6B6462AA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20F6D53-2EE7-4015-BCE7-0DBA132126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4FB37365-D66E-4846-852B-C1A71743C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95172BCC-31E3-4A40-AA46-302BDAF77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BAF276E-F18C-4FDE-9B59-68F5ECACE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0BADB761-E70F-48F1-826D-51C359FA4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5E9F7C2-4666-47F4-A8DE-8CE2FF0D0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228327AB-4FBF-4F8C-AD2E-0312136A8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89B2C8F4-D453-493A-BBB0-8B1C7A6E5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7828251F-4AFC-4F35-8CD8-F4E4DEA59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30/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2.xml"/><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5201683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325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3398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59335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fr-FR"/>
              <a:t>DATA SOURCE: Client P&amp;L</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US" dirty="0"/>
              <a:t>Sector KPIs Summary | Cream Cheese | National | Hershey</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r>
              <a:rPr lang="en-US" dirty="0">
                <a:highlight>
                  <a:srgbClr val="FFFF00"/>
                </a:highlight>
              </a:rPr>
              <a:t>Sector</a:t>
            </a:r>
            <a:r>
              <a:rPr lang="en-CH" dirty="0">
                <a:highlight>
                  <a:srgbClr val="FFFF00"/>
                </a:highlight>
              </a:rPr>
              <a:t>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extLst>
              <p:ext uri="{D42A27DB-BD31-4B8C-83A1-F6EECF244321}">
                <p14:modId xmlns:p14="http://schemas.microsoft.com/office/powerpoint/2010/main" val="872062300"/>
              </p:ext>
            </p:extLst>
          </p:nvPr>
        </p:nvGraphicFramePr>
        <p:xfrm>
          <a:off x="546970" y="1134112"/>
          <a:ext cx="8093029" cy="1766024"/>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297663">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Sector</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 Sales (</a:t>
                      </a:r>
                      <a:r>
                        <a:rPr lang="fr-CH" sz="900" u="none" strike="noStrike">
                          <a:solidFill>
                            <a:schemeClr val="tx2"/>
                          </a:solidFill>
                          <a:effectLst/>
                          <a:highlight>
                            <a:srgbClr val="FFFF00"/>
                          </a:highlight>
                          <a:latin typeface="Nexa Bold" panose="00000800000000000000"/>
                          <a:ea typeface="Open Sans" panose="020B0606030504020204" pitchFamily="34" charset="0"/>
                          <a:cs typeface="Open Sans" panose="020B0606030504020204" pitchFamily="34" charset="0"/>
                        </a:rPr>
                        <a:t>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506547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857360637"/>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280226519"/>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846919138"/>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0373044"/>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580</a:t>
                      </a:r>
                      <a:r>
                        <a:rPr lang="en-US" sz="800" dirty="0">
                          <a:solidFill>
                            <a:srgbClr val="575555"/>
                          </a:solidFill>
                          <a:latin typeface="Nexa Book"/>
                        </a:rPr>
                        <a:t>.</a:t>
                      </a:r>
                      <a:r>
                        <a:rPr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59%</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957830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dirty="0">
                          <a:solidFill>
                            <a:srgbClr val="575555"/>
                          </a:solidFill>
                          <a:latin typeface="Nexa Book"/>
                        </a:rPr>
                        <a:t>26</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599167105"/>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8620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56762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30686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02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2189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29997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3.xml><?xml version="1.0" encoding="utf-8"?>
<ds:datastoreItem xmlns:ds="http://schemas.openxmlformats.org/officeDocument/2006/customXml" ds:itemID="{AC113E98-7689-4749-B74E-87793737B6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TotalTime>
  <Words>4492</Words>
  <Application>Microsoft Office PowerPoint</Application>
  <PresentationFormat>On-screen Show (16:9)</PresentationFormat>
  <Paragraphs>1756</Paragraphs>
  <Slides>10</Slides>
  <Notes>4</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Trade Margin Analysis by Retailer (Replace with So What)</vt:lpstr>
      <vt:lpstr>Sector KPIs Summary (Replace with So What)</vt:lpstr>
      <vt:lpstr>SKU KPIs Summary (Replace with So What)</vt:lpstr>
      <vt:lpstr>Mix Matrix (Replace with So What)</vt:lpstr>
      <vt:lpstr>Mix Matrix by brand (Replace with So What)</vt:lpstr>
      <vt:lpstr>Sector Spending pool split (Replace with So What)</vt:lpstr>
      <vt:lpstr>Product Spending pool split (Replace with So What)</vt:lpstr>
      <vt:lpstr>SKU Profitability Analysis with TM% (Replace with So What)</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Yomna ABDULLATIF</cp:lastModifiedBy>
  <cp:revision>37</cp:revision>
  <dcterms:created xsi:type="dcterms:W3CDTF">2024-07-05T15:31:56Z</dcterms:created>
  <dcterms:modified xsi:type="dcterms:W3CDTF">2025-07-30T07:5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